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5" r:id="rId1"/>
    <p:sldMasterId id="2147483806" r:id="rId2"/>
    <p:sldMasterId id="2147483821" r:id="rId3"/>
  </p:sldMasterIdLst>
  <p:notesMasterIdLst>
    <p:notesMasterId r:id="rId8"/>
  </p:notesMasterIdLst>
  <p:sldIdLst>
    <p:sldId id="295" r:id="rId4"/>
    <p:sldId id="297" r:id="rId5"/>
    <p:sldId id="298" r:id="rId6"/>
    <p:sldId id="296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86"/>
    <a:srgbClr val="008232"/>
    <a:srgbClr val="004B86"/>
    <a:srgbClr val="004B82"/>
    <a:srgbClr val="239655"/>
    <a:srgbClr val="006B30"/>
    <a:srgbClr val="878EBE"/>
    <a:srgbClr val="6EAF7D"/>
    <a:srgbClr val="A0C8A5"/>
    <a:srgbClr val="D2E6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16" autoAdjust="0"/>
    <p:restoredTop sz="94641" autoAdjust="0"/>
  </p:normalViewPr>
  <p:slideViewPr>
    <p:cSldViewPr snapToGrid="0">
      <p:cViewPr>
        <p:scale>
          <a:sx n="66" d="100"/>
          <a:sy n="66" d="100"/>
        </p:scale>
        <p:origin x="908" y="8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43EBA-CDDB-4EE8-8575-AFE6B2EEF1C4}" type="datetimeFigureOut">
              <a:rPr lang="de-DE" smtClean="0"/>
              <a:pPr/>
              <a:t>11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C2E669-94A7-4769-A079-0892FA888A4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2730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reg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13840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755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wo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159AE-1F2B-4773-8454-F6B83CB8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80A20F-FDDF-7FE1-4CE1-BF678FE5D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BC3AB-D281-B442-7607-0D01C0580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pic>
        <p:nvPicPr>
          <p:cNvPr id="2" name="Grafik 9">
            <a:extLst>
              <a:ext uri="{FF2B5EF4-FFF2-40B4-BE49-F238E27FC236}">
                <a16:creationId xmlns:a16="http://schemas.microsoft.com/office/drawing/2014/main" id="{4976BAF0-1D8D-7C55-E1D8-A67B5A05C2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743" y="764704"/>
            <a:ext cx="5299125" cy="5733256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8812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C7459-21FA-FBA7-2434-ABFEE2AA7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AC2416-9DF2-B944-BB4E-2B1DB09F2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D1D28D-A28F-042F-DDC6-061BF977B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35AC51-9A43-7D96-B085-30BF705F9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C19484-8FB2-FFEC-340A-2AE467C0F8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2117558"/>
            <a:ext cx="11233149" cy="3694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51517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55F91-3D98-0E26-8365-99DE4F99D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54325C-3FE4-4738-7184-E27A02AED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2117558"/>
            <a:ext cx="7884929" cy="52938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lang="en-US" sz="2200" b="1" baseline="0" dirty="0">
                <a:solidFill>
                  <a:srgbClr val="003C86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cs-CZ" dirty="0"/>
            </a:lvl5pPr>
          </a:lstStyle>
          <a:p>
            <a:pPr marL="0" lvl="0" indent="0">
              <a:buNone/>
            </a:pPr>
            <a:r>
              <a:rPr lang="en-US" dirty="0"/>
              <a:t>Click to edit Master text style</a:t>
            </a:r>
            <a:r>
              <a:rPr lang="cs-CZ" dirty="0"/>
              <a:t>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848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87B6A-5553-25A0-35F4-CA6FF55F1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DC776C-373A-8060-E64D-A293C269BD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7994F40-522D-C338-05C8-D7D54EBB6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B94F6C4-33F2-F2F0-5333-10040C8B1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D006642-4D7A-6096-A831-4FF5E8120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2748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EA41F-7704-21DE-7F4E-CD853F68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C1B3F8-8DF2-38B3-5D94-3AA9788B5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D72D2B-69E2-5BF4-8050-C91DDF22F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B6203B-05D1-A4F7-C5E6-2DDDEDE74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B217CD88-753F-FEB6-4860-1461C39CE1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2098064"/>
            <a:ext cx="11233150" cy="3888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pt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6213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EA41F-7704-21DE-7F4E-CD853F68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C1B3F8-8DF2-38B3-5D94-3AA9788B5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D72D2B-69E2-5BF4-8050-C91DDF22F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B6203B-05D1-A4F7-C5E6-2DDDEDE74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B217CD88-753F-FEB6-4860-1461C39CE1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2098064"/>
            <a:ext cx="11233150" cy="3888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pt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4805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EA41F-7704-21DE-7F4E-CD853F681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101113"/>
            <a:ext cx="5237981" cy="9969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C1B3F8-8DF2-38B3-5D94-3AA9788B5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D72D2B-69E2-5BF4-8050-C91DDF22F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B6203B-05D1-A4F7-C5E6-2DDDEDE74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B217CD88-753F-FEB6-4860-1461C39CE1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2098064"/>
            <a:ext cx="5240363" cy="3888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pt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CBF4861-3E1F-4420-4361-D7DEDB91FF95}"/>
              </a:ext>
            </a:extLst>
          </p:cNvPr>
          <p:cNvSpPr txBox="1">
            <a:spLocks/>
          </p:cNvSpPr>
          <p:nvPr userDrawn="1"/>
        </p:nvSpPr>
        <p:spPr>
          <a:xfrm>
            <a:off x="6474594" y="1101113"/>
            <a:ext cx="5237981" cy="9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2D1FA90-B106-8817-6744-6C0762108D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74594" y="2098064"/>
            <a:ext cx="5240363" cy="3888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pt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5348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o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159AE-1F2B-4773-8454-F6B83CB8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80A20F-FDDF-7FE1-4CE1-BF678FE5D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BC3AB-D281-B442-7607-0D01C0580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E347F96-3456-C7BB-A34E-047DC7EFA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132989" y="1556768"/>
            <a:ext cx="9872775" cy="4176488"/>
          </a:xfrm>
          <a:prstGeom prst="rect">
            <a:avLst/>
          </a:prstGeom>
        </p:spPr>
      </p:pic>
      <p:pic>
        <p:nvPicPr>
          <p:cNvPr id="3" name="Picture 9">
            <a:extLst>
              <a:ext uri="{FF2B5EF4-FFF2-40B4-BE49-F238E27FC236}">
                <a16:creationId xmlns:a16="http://schemas.microsoft.com/office/drawing/2014/main" id="{5B3FBE94-8F3E-632E-96CD-9748845845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19726" y="3835908"/>
            <a:ext cx="2747352" cy="3503996"/>
          </a:xfrm>
          <a:prstGeom prst="rect">
            <a:avLst/>
          </a:prstGeom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AE86922D-D1A5-912C-22D0-776AB9BB2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-867863" y="4449018"/>
            <a:ext cx="2747352" cy="3503996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C08D7CF6-B6CE-5B02-EDD3-D29B03A2E0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17346217">
            <a:off x="9442224" y="-69615"/>
            <a:ext cx="2979443" cy="3800007"/>
          </a:xfrm>
          <a:prstGeom prst="rect">
            <a:avLst/>
          </a:prstGeom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D74D8024-C07C-6BDA-FE6F-97878DA977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16833774">
            <a:off x="10308584" y="-56389"/>
            <a:ext cx="2747352" cy="350399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7981023-F6A6-ECD5-1878-A1846C69B0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99412" y="1680784"/>
            <a:ext cx="9539930" cy="3935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017865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159AE-1F2B-4773-8454-F6B83CB8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80A20F-FDDF-7FE1-4CE1-BF678FE5D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BC3AB-D281-B442-7607-0D01C0580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E347F96-3456-C7BB-A34E-047DC7EFA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132989" y="1556768"/>
            <a:ext cx="9872775" cy="4176488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7981023-F6A6-ECD5-1878-A1846C69B0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99412" y="1680784"/>
            <a:ext cx="9539930" cy="3935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59406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159AE-1F2B-4773-8454-F6B83CB8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80A20F-FDDF-7FE1-4CE1-BF678FE5D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BC3AB-D281-B442-7607-0D01C0580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7015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A159AE-1F2B-4773-8454-F6B83CB8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80A20F-FDDF-7FE1-4CE1-BF678FE5D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cience, Art &amp; A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BC3AB-D281-B442-7607-0D01C0580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B960B1B4-9CF3-0298-2AA5-6EB2BF8D99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2360717" y="3501008"/>
            <a:ext cx="7470567" cy="2409260"/>
          </a:xfrm>
          <a:prstGeom prst="rect">
            <a:avLst/>
          </a:prstGeom>
        </p:spPr>
      </p:pic>
      <p:sp>
        <p:nvSpPr>
          <p:cNvPr id="3" name="TextBox 10">
            <a:extLst>
              <a:ext uri="{FF2B5EF4-FFF2-40B4-BE49-F238E27FC236}">
                <a16:creationId xmlns:a16="http://schemas.microsoft.com/office/drawing/2014/main" id="{08612A96-638C-6BA6-E32F-B17683B965BA}"/>
              </a:ext>
            </a:extLst>
          </p:cNvPr>
          <p:cNvSpPr txBox="1"/>
          <p:nvPr userDrawn="1"/>
        </p:nvSpPr>
        <p:spPr>
          <a:xfrm>
            <a:off x="2385524" y="1709193"/>
            <a:ext cx="6746736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cs-CZ" sz="2800" b="1" dirty="0">
                <a:solidFill>
                  <a:srgbClr val="2A8435"/>
                </a:solidFill>
                <a:latin typeface="Fira Sans Bold Bold"/>
              </a:rPr>
              <a:t>Děkuji za pozornost!</a:t>
            </a:r>
            <a:endParaRPr lang="en-US" sz="2800" b="1" dirty="0">
              <a:solidFill>
                <a:srgbClr val="2A8435"/>
              </a:solidFill>
              <a:latin typeface="Fira Sans Bold Bold"/>
            </a:endParaRP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Bold Bold"/>
            </a:endParaRP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2C8EA8DF-DF16-1FE7-73B6-287BAC2806A9}"/>
              </a:ext>
            </a:extLst>
          </p:cNvPr>
          <p:cNvSpPr txBox="1"/>
          <p:nvPr userDrawn="1"/>
        </p:nvSpPr>
        <p:spPr>
          <a:xfrm>
            <a:off x="2366006" y="2645297"/>
            <a:ext cx="6970354" cy="4231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de-DE" sz="2800" b="1" dirty="0">
                <a:solidFill>
                  <a:srgbClr val="173C86"/>
                </a:solidFill>
                <a:latin typeface="Fira Sans Bold Bold"/>
              </a:rPr>
              <a:t>Vielen Dank für Ihre Aufmerksamkeit!</a:t>
            </a:r>
            <a:endParaRPr lang="en-US" sz="3101" dirty="0">
              <a:solidFill>
                <a:srgbClr val="173C86"/>
              </a:solidFill>
              <a:latin typeface="Fira Sans Bold Bold"/>
            </a:endParaRPr>
          </a:p>
        </p:txBody>
      </p:sp>
    </p:spTree>
    <p:extLst>
      <p:ext uri="{BB962C8B-B14F-4D97-AF65-F5344CB8AC3E}">
        <p14:creationId xmlns:p14="http://schemas.microsoft.com/office/powerpoint/2010/main" val="14985127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7.sv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9.tiff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5.png"/><Relationship Id="rId7" Type="http://schemas.openxmlformats.org/officeDocument/2006/relationships/image" Target="../media/image13.sv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618025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317468" y="190816"/>
            <a:ext cx="7451673" cy="54822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2" name="TextBox 8"/>
          <p:cNvSpPr txBox="1"/>
          <p:nvPr userDrawn="1"/>
        </p:nvSpPr>
        <p:spPr>
          <a:xfrm>
            <a:off x="355146" y="291311"/>
            <a:ext cx="4035190" cy="3195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7" name="TextBox 9"/>
          <p:cNvSpPr txBox="1"/>
          <p:nvPr userDrawn="1"/>
        </p:nvSpPr>
        <p:spPr>
          <a:xfrm>
            <a:off x="814452" y="3523044"/>
            <a:ext cx="5427774" cy="12695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reg </a:t>
            </a:r>
            <a:r>
              <a:rPr lang="en-US" sz="2800" b="1" dirty="0" err="1">
                <a:solidFill>
                  <a:srgbClr val="173C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Sasko</a:t>
            </a:r>
            <a:br>
              <a:rPr lang="cs-CZ" sz="2800" b="1" dirty="0">
                <a:solidFill>
                  <a:srgbClr val="173C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800" b="1" dirty="0">
                <a:solidFill>
                  <a:srgbClr val="173C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1–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0"/>
          <p:cNvSpPr txBox="1"/>
          <p:nvPr userDrawn="1"/>
        </p:nvSpPr>
        <p:spPr>
          <a:xfrm>
            <a:off x="814451" y="2597583"/>
            <a:ext cx="5427775" cy="12695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2A84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reg Sachsen – </a:t>
            </a:r>
            <a:r>
              <a:rPr lang="en-US" sz="2800" b="1" dirty="0" err="1">
                <a:solidFill>
                  <a:srgbClr val="2A84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021–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2"/>
          <p:cNvSpPr txBox="1"/>
          <p:nvPr userDrawn="1"/>
        </p:nvSpPr>
        <p:spPr>
          <a:xfrm>
            <a:off x="143603" y="3625628"/>
            <a:ext cx="6204284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 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9281320" y="6475227"/>
            <a:ext cx="1729153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/>
              <a:t>www.sn-cz2027.eu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3CB3FA6-67BE-1DE0-CA5D-D9CF52B5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8107" y="583777"/>
            <a:ext cx="981817" cy="888310"/>
          </a:xfrm>
          <a:prstGeom prst="rect">
            <a:avLst/>
          </a:prstGeom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0CAD7A44-C2A1-9745-D723-FF9B941FC6A9}"/>
              </a:ext>
            </a:extLst>
          </p:cNvPr>
          <p:cNvSpPr/>
          <p:nvPr userDrawn="1"/>
        </p:nvSpPr>
        <p:spPr>
          <a:xfrm>
            <a:off x="0" y="4407893"/>
            <a:ext cx="2451681" cy="2451681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600" dirty="0"/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BD088BB8-6EA5-D4DC-8F90-9FB45A9DF379}"/>
              </a:ext>
            </a:extLst>
          </p:cNvPr>
          <p:cNvSpPr/>
          <p:nvPr userDrawn="1"/>
        </p:nvSpPr>
        <p:spPr>
          <a:xfrm rot="10800000">
            <a:off x="9185262" y="4406319"/>
            <a:ext cx="2451681" cy="2451681"/>
          </a:xfrm>
          <a:prstGeom prst="rtTriangle">
            <a:avLst/>
          </a:prstGeom>
          <a:solidFill>
            <a:srgbClr val="003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BE26A29-ACE0-76AB-9B14-E81B50287566}"/>
              </a:ext>
            </a:extLst>
          </p:cNvPr>
          <p:cNvSpPr/>
          <p:nvPr userDrawn="1"/>
        </p:nvSpPr>
        <p:spPr>
          <a:xfrm>
            <a:off x="11636943" y="4406318"/>
            <a:ext cx="555057" cy="2451682"/>
          </a:xfrm>
          <a:prstGeom prst="rect">
            <a:avLst/>
          </a:prstGeom>
          <a:solidFill>
            <a:srgbClr val="003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6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C8FAFB3-5C48-5D4D-512F-8C570F29CAB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385425" y="0"/>
            <a:ext cx="6803726" cy="4176122"/>
          </a:xfrm>
          <a:prstGeom prst="rect">
            <a:avLst/>
          </a:prstGeom>
        </p:spPr>
      </p:pic>
      <p:pic>
        <p:nvPicPr>
          <p:cNvPr id="15" name="Picture 8">
            <a:extLst>
              <a:ext uri="{FF2B5EF4-FFF2-40B4-BE49-F238E27FC236}">
                <a16:creationId xmlns:a16="http://schemas.microsoft.com/office/drawing/2014/main" id="{03847531-4BD9-AE60-8B3D-ECB1D3A9B6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>
          <a:xfrm>
            <a:off x="2843100" y="4636753"/>
            <a:ext cx="6294133" cy="202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62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>
            <a:extLst>
              <a:ext uri="{FF2B5EF4-FFF2-40B4-BE49-F238E27FC236}">
                <a16:creationId xmlns:a16="http://schemas.microsoft.com/office/drawing/2014/main" id="{D111CCF0-A10B-7FAE-B4AF-B8F53587DC9D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68759" r="1157" b="23381"/>
          <a:stretch>
            <a:fillRect/>
          </a:stretch>
        </p:blipFill>
        <p:spPr>
          <a:xfrm>
            <a:off x="-10213" y="1"/>
            <a:ext cx="12202214" cy="84018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A971C1-8B5D-FC20-A963-FD745585E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101113"/>
            <a:ext cx="11228043" cy="9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6B32F-AAA5-8CF5-7E0F-922EE35BE0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2117558"/>
            <a:ext cx="11233149" cy="3694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3BE92A-5BB2-0D55-F101-5059047A3F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232525"/>
            <a:ext cx="27432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A0FA42-9E13-C798-8F5D-3FB957AA90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32524"/>
            <a:ext cx="4114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/>
              <a:t>Science, Art &amp; AI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90A63-3FC3-AEFB-5C1F-DC9958969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9374" y="6232523"/>
            <a:ext cx="209930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F47F130-775A-4CFD-BA73-9A3924069444}" type="slidenum">
              <a:rPr lang="cs-CZ" smtClean="0"/>
              <a:t>‹#›</a:t>
            </a:fld>
            <a:endParaRPr lang="cs-CZ"/>
          </a:p>
        </p:txBody>
      </p:sp>
      <p:sp>
        <p:nvSpPr>
          <p:cNvPr id="7" name="AutoShape 14">
            <a:extLst>
              <a:ext uri="{FF2B5EF4-FFF2-40B4-BE49-F238E27FC236}">
                <a16:creationId xmlns:a16="http://schemas.microsoft.com/office/drawing/2014/main" id="{73B5989D-0276-DAD5-7782-E2D3EAE8100D}"/>
              </a:ext>
            </a:extLst>
          </p:cNvPr>
          <p:cNvSpPr/>
          <p:nvPr userDrawn="1"/>
        </p:nvSpPr>
        <p:spPr>
          <a:xfrm>
            <a:off x="1123318" y="6193533"/>
            <a:ext cx="9945365" cy="0"/>
          </a:xfrm>
          <a:prstGeom prst="line">
            <a:avLst/>
          </a:prstGeom>
          <a:ln w="9525" cap="rnd">
            <a:solidFill>
              <a:srgbClr val="00206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cs-CZ"/>
          </a:p>
        </p:txBody>
      </p:sp>
      <p:pic>
        <p:nvPicPr>
          <p:cNvPr id="8" name="Grafik 18">
            <a:extLst>
              <a:ext uri="{FF2B5EF4-FFF2-40B4-BE49-F238E27FC236}">
                <a16:creationId xmlns:a16="http://schemas.microsoft.com/office/drawing/2014/main" id="{C77A4E35-4D26-E9DA-4E22-A41EDDE8B1F6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639" y="5826606"/>
            <a:ext cx="750359" cy="811833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pic>
        <p:nvPicPr>
          <p:cNvPr id="11" name="Grafik 2" descr="Ein Bild, das Text, Screenshot, Schrift, Logo enthält.&#10;&#10;KI-generierte Inhalte können fehlerhaft sein.">
            <a:extLst>
              <a:ext uri="{FF2B5EF4-FFF2-40B4-BE49-F238E27FC236}">
                <a16:creationId xmlns:a16="http://schemas.microsoft.com/office/drawing/2014/main" id="{0713A0E3-F993-84D2-3575-BFDF9F889CC6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4624"/>
            <a:ext cx="2365108" cy="762781"/>
          </a:xfrm>
          <a:prstGeom prst="rect">
            <a:avLst/>
          </a:prstGeom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E3D63905-D8B6-4CE7-0153-60E068D242F2}"/>
              </a:ext>
            </a:extLst>
          </p:cNvPr>
          <p:cNvSpPr txBox="1"/>
          <p:nvPr userDrawn="1"/>
        </p:nvSpPr>
        <p:spPr>
          <a:xfrm>
            <a:off x="355146" y="291311"/>
            <a:ext cx="4035190" cy="3195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</p:spTree>
    <p:extLst>
      <p:ext uri="{BB962C8B-B14F-4D97-AF65-F5344CB8AC3E}">
        <p14:creationId xmlns:p14="http://schemas.microsoft.com/office/powerpoint/2010/main" val="2560617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2" r:id="rId2"/>
    <p:sldLayoutId id="2147483815" r:id="rId3"/>
    <p:sldLayoutId id="2147483817" r:id="rId4"/>
    <p:sldLayoutId id="2147483813" r:id="rId5"/>
    <p:sldLayoutId id="2147483819" r:id="rId6"/>
    <p:sldLayoutId id="2147483818" r:id="rId7"/>
    <p:sldLayoutId id="2147483820" r:id="rId8"/>
    <p:sldLayoutId id="2147483814" r:id="rId9"/>
    <p:sldLayoutId id="2147483816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A971C1-8B5D-FC20-A963-FD745585E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1101113"/>
            <a:ext cx="7788676" cy="4451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>
              <a:lnSpc>
                <a:spcPts val="3256"/>
              </a:lnSpc>
            </a:pPr>
            <a:r>
              <a:rPr lang="en-US" dirty="0"/>
              <a:t>Click to edit Master title style</a:t>
            </a:r>
            <a:endParaRPr lang="cs-CZ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E3D63905-D8B6-4CE7-0153-60E068D242F2}"/>
              </a:ext>
            </a:extLst>
          </p:cNvPr>
          <p:cNvSpPr txBox="1"/>
          <p:nvPr userDrawn="1"/>
        </p:nvSpPr>
        <p:spPr>
          <a:xfrm>
            <a:off x="355146" y="291311"/>
            <a:ext cx="4035190" cy="3195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346DED37-DF57-D032-B45F-024A2ECE1F91}"/>
              </a:ext>
            </a:extLst>
          </p:cNvPr>
          <p:cNvSpPr/>
          <p:nvPr userDrawn="1"/>
        </p:nvSpPr>
        <p:spPr>
          <a:xfrm>
            <a:off x="6292874" y="1514276"/>
            <a:ext cx="5899126" cy="3383509"/>
          </a:xfrm>
          <a:custGeom>
            <a:avLst/>
            <a:gdLst>
              <a:gd name="csX0" fmla="*/ 4825560 w 5899126"/>
              <a:gd name="csY0" fmla="*/ 1171024 h 3383509"/>
              <a:gd name="csX1" fmla="*/ 5899126 w 5899126"/>
              <a:gd name="csY1" fmla="*/ 1171024 h 3383509"/>
              <a:gd name="csX2" fmla="*/ 5899126 w 5899126"/>
              <a:gd name="csY2" fmla="*/ 3383509 h 3383509"/>
              <a:gd name="csX3" fmla="*/ 4825560 w 5899126"/>
              <a:gd name="csY3" fmla="*/ 3383509 h 3383509"/>
              <a:gd name="csX4" fmla="*/ 4272438 w 5899126"/>
              <a:gd name="csY4" fmla="*/ 2277267 h 3383509"/>
              <a:gd name="csX5" fmla="*/ 553122 w 5899126"/>
              <a:gd name="csY5" fmla="*/ 1171024 h 3383509"/>
              <a:gd name="csX6" fmla="*/ 2013363 w 5899126"/>
              <a:gd name="csY6" fmla="*/ 1171024 h 3383509"/>
              <a:gd name="csX7" fmla="*/ 2566484 w 5899126"/>
              <a:gd name="csY7" fmla="*/ 2277267 h 3383509"/>
              <a:gd name="csX8" fmla="*/ 2013363 w 5899126"/>
              <a:gd name="csY8" fmla="*/ 3383509 h 3383509"/>
              <a:gd name="csX9" fmla="*/ 553122 w 5899126"/>
              <a:gd name="csY9" fmla="*/ 3383509 h 3383509"/>
              <a:gd name="csX10" fmla="*/ 0 w 5899126"/>
              <a:gd name="csY10" fmla="*/ 2277267 h 3383509"/>
              <a:gd name="csX11" fmla="*/ 2688368 w 5899126"/>
              <a:gd name="csY11" fmla="*/ 0 h 3383509"/>
              <a:gd name="csX12" fmla="*/ 4148610 w 5899126"/>
              <a:gd name="csY12" fmla="*/ 0 h 3383509"/>
              <a:gd name="csX13" fmla="*/ 4701732 w 5899126"/>
              <a:gd name="csY13" fmla="*/ 1106243 h 3383509"/>
              <a:gd name="csX14" fmla="*/ 4148610 w 5899126"/>
              <a:gd name="csY14" fmla="*/ 2212485 h 3383509"/>
              <a:gd name="csX15" fmla="*/ 2688368 w 5899126"/>
              <a:gd name="csY15" fmla="*/ 2212485 h 3383509"/>
              <a:gd name="csX16" fmla="*/ 2135247 w 5899126"/>
              <a:gd name="csY16" fmla="*/ 1106243 h 338350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</a:cxnLst>
            <a:rect l="l" t="t" r="r" b="b"/>
            <a:pathLst>
              <a:path w="5899126" h="3383509">
                <a:moveTo>
                  <a:pt x="4825560" y="1171024"/>
                </a:moveTo>
                <a:lnTo>
                  <a:pt x="5899126" y="1171024"/>
                </a:lnTo>
                <a:lnTo>
                  <a:pt x="5899126" y="3383509"/>
                </a:lnTo>
                <a:lnTo>
                  <a:pt x="4825560" y="3383509"/>
                </a:lnTo>
                <a:lnTo>
                  <a:pt x="4272438" y="2277267"/>
                </a:lnTo>
                <a:close/>
                <a:moveTo>
                  <a:pt x="553122" y="1171024"/>
                </a:moveTo>
                <a:lnTo>
                  <a:pt x="2013363" y="1171024"/>
                </a:lnTo>
                <a:lnTo>
                  <a:pt x="2566484" y="2277267"/>
                </a:lnTo>
                <a:lnTo>
                  <a:pt x="2013363" y="3383509"/>
                </a:lnTo>
                <a:lnTo>
                  <a:pt x="553122" y="3383509"/>
                </a:lnTo>
                <a:lnTo>
                  <a:pt x="0" y="2277267"/>
                </a:lnTo>
                <a:close/>
                <a:moveTo>
                  <a:pt x="2688368" y="0"/>
                </a:moveTo>
                <a:lnTo>
                  <a:pt x="4148610" y="0"/>
                </a:lnTo>
                <a:lnTo>
                  <a:pt x="4701732" y="1106243"/>
                </a:lnTo>
                <a:lnTo>
                  <a:pt x="4148610" y="2212485"/>
                </a:lnTo>
                <a:lnTo>
                  <a:pt x="2688368" y="2212485"/>
                </a:lnTo>
                <a:lnTo>
                  <a:pt x="2135247" y="1106243"/>
                </a:lnTo>
                <a:close/>
              </a:path>
            </a:pathLst>
          </a:custGeom>
          <a:gradFill>
            <a:gsLst>
              <a:gs pos="0">
                <a:srgbClr val="173C86"/>
              </a:gs>
              <a:gs pos="50000">
                <a:srgbClr val="20605D"/>
              </a:gs>
              <a:gs pos="100000">
                <a:srgbClr val="2A8435"/>
              </a:gs>
            </a:gsLst>
            <a:lin ang="0" scaled="1"/>
          </a:gradFill>
          <a:ln w="19273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 dirty="0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03D4C755-4FFD-E6C5-BA74-FD83E28328C8}"/>
              </a:ext>
            </a:extLst>
          </p:cNvPr>
          <p:cNvSpPr/>
          <p:nvPr userDrawn="1"/>
        </p:nvSpPr>
        <p:spPr>
          <a:xfrm>
            <a:off x="10565312" y="343251"/>
            <a:ext cx="1626688" cy="2212485"/>
          </a:xfrm>
          <a:custGeom>
            <a:avLst/>
            <a:gdLst>
              <a:gd name="csX0" fmla="*/ 553122 w 1626688"/>
              <a:gd name="csY0" fmla="*/ 0 h 2212485"/>
              <a:gd name="csX1" fmla="*/ 1626688 w 1626688"/>
              <a:gd name="csY1" fmla="*/ 0 h 2212485"/>
              <a:gd name="csX2" fmla="*/ 1626688 w 1626688"/>
              <a:gd name="csY2" fmla="*/ 2212485 h 2212485"/>
              <a:gd name="csX3" fmla="*/ 553122 w 1626688"/>
              <a:gd name="csY3" fmla="*/ 2212485 h 2212485"/>
              <a:gd name="csX4" fmla="*/ 0 w 1626688"/>
              <a:gd name="csY4" fmla="*/ 1106243 h 221248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1626688" h="2212485">
                <a:moveTo>
                  <a:pt x="553122" y="0"/>
                </a:moveTo>
                <a:lnTo>
                  <a:pt x="1626688" y="0"/>
                </a:lnTo>
                <a:lnTo>
                  <a:pt x="1626688" y="2212485"/>
                </a:lnTo>
                <a:lnTo>
                  <a:pt x="553122" y="2212485"/>
                </a:lnTo>
                <a:lnTo>
                  <a:pt x="0" y="1106243"/>
                </a:lnTo>
                <a:close/>
              </a:path>
            </a:pathLst>
          </a:custGeom>
          <a:gradFill>
            <a:gsLst>
              <a:gs pos="0">
                <a:srgbClr val="2A8435"/>
              </a:gs>
              <a:gs pos="50000">
                <a:srgbClr val="20605D"/>
              </a:gs>
              <a:gs pos="100000">
                <a:srgbClr val="173C86"/>
              </a:gs>
            </a:gsLst>
            <a:lin ang="0" scaled="1"/>
          </a:gradFill>
          <a:ln w="23831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/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1A632B75-6C40-588E-D029-063B89E7D9B6}"/>
              </a:ext>
            </a:extLst>
          </p:cNvPr>
          <p:cNvSpPr/>
          <p:nvPr userDrawn="1"/>
        </p:nvSpPr>
        <p:spPr>
          <a:xfrm>
            <a:off x="8428121" y="3856324"/>
            <a:ext cx="2566485" cy="2212487"/>
          </a:xfrm>
          <a:prstGeom prst="hexagon">
            <a:avLst/>
          </a:prstGeom>
          <a:gradFill>
            <a:gsLst>
              <a:gs pos="0">
                <a:srgbClr val="2A8435"/>
              </a:gs>
              <a:gs pos="50000">
                <a:srgbClr val="20605D"/>
              </a:gs>
              <a:gs pos="100000">
                <a:srgbClr val="173C86"/>
              </a:gs>
            </a:gsLst>
            <a:lin ang="0" scaled="1"/>
          </a:gradFill>
          <a:ln w="23831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ED70608F-FBC6-2F23-1A7D-6312BAFF6682}"/>
              </a:ext>
            </a:extLst>
          </p:cNvPr>
          <p:cNvSpPr/>
          <p:nvPr userDrawn="1"/>
        </p:nvSpPr>
        <p:spPr>
          <a:xfrm>
            <a:off x="8428121" y="0"/>
            <a:ext cx="2566485" cy="1384712"/>
          </a:xfrm>
          <a:custGeom>
            <a:avLst/>
            <a:gdLst>
              <a:gd name="csX0" fmla="*/ 139235 w 2566485"/>
              <a:gd name="csY0" fmla="*/ 0 h 1384712"/>
              <a:gd name="csX1" fmla="*/ 2427250 w 2566485"/>
              <a:gd name="csY1" fmla="*/ 0 h 1384712"/>
              <a:gd name="csX2" fmla="*/ 2566485 w 2566485"/>
              <a:gd name="csY2" fmla="*/ 278470 h 1384712"/>
              <a:gd name="csX3" fmla="*/ 2013363 w 2566485"/>
              <a:gd name="csY3" fmla="*/ 1384712 h 1384712"/>
              <a:gd name="csX4" fmla="*/ 553122 w 2566485"/>
              <a:gd name="csY4" fmla="*/ 1384712 h 1384712"/>
              <a:gd name="csX5" fmla="*/ 0 w 2566485"/>
              <a:gd name="csY5" fmla="*/ 278470 h 138471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566485" h="1384712">
                <a:moveTo>
                  <a:pt x="139235" y="0"/>
                </a:moveTo>
                <a:lnTo>
                  <a:pt x="2427250" y="0"/>
                </a:lnTo>
                <a:lnTo>
                  <a:pt x="2566485" y="278470"/>
                </a:lnTo>
                <a:lnTo>
                  <a:pt x="2013363" y="1384712"/>
                </a:lnTo>
                <a:lnTo>
                  <a:pt x="553122" y="1384712"/>
                </a:lnTo>
                <a:lnTo>
                  <a:pt x="0" y="278470"/>
                </a:lnTo>
                <a:close/>
              </a:path>
            </a:pathLst>
          </a:custGeom>
          <a:gradFill>
            <a:gsLst>
              <a:gs pos="0">
                <a:srgbClr val="173C86"/>
              </a:gs>
              <a:gs pos="50000">
                <a:srgbClr val="20605D"/>
              </a:gs>
              <a:gs pos="100000">
                <a:srgbClr val="2A8435"/>
              </a:gs>
            </a:gsLst>
            <a:lin ang="0" scaled="1"/>
          </a:gradFill>
          <a:ln w="19273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/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0EB6B40C-38B4-7FD7-C5C8-1B79BFB26BEC}"/>
              </a:ext>
            </a:extLst>
          </p:cNvPr>
          <p:cNvSpPr/>
          <p:nvPr userDrawn="1"/>
        </p:nvSpPr>
        <p:spPr>
          <a:xfrm>
            <a:off x="8651429" y="6198373"/>
            <a:ext cx="2119869" cy="659627"/>
          </a:xfrm>
          <a:custGeom>
            <a:avLst/>
            <a:gdLst>
              <a:gd name="csX0" fmla="*/ 329814 w 2119869"/>
              <a:gd name="csY0" fmla="*/ 0 h 659627"/>
              <a:gd name="csX1" fmla="*/ 1790055 w 2119869"/>
              <a:gd name="csY1" fmla="*/ 0 h 659627"/>
              <a:gd name="csX2" fmla="*/ 2119869 w 2119869"/>
              <a:gd name="csY2" fmla="*/ 659627 h 659627"/>
              <a:gd name="csX3" fmla="*/ 0 w 2119869"/>
              <a:gd name="csY3" fmla="*/ 659627 h 65962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119869" h="659627">
                <a:moveTo>
                  <a:pt x="329814" y="0"/>
                </a:moveTo>
                <a:lnTo>
                  <a:pt x="1790055" y="0"/>
                </a:lnTo>
                <a:lnTo>
                  <a:pt x="2119869" y="659627"/>
                </a:lnTo>
                <a:lnTo>
                  <a:pt x="0" y="659627"/>
                </a:lnTo>
                <a:close/>
              </a:path>
            </a:pathLst>
          </a:custGeom>
          <a:gradFill>
            <a:gsLst>
              <a:gs pos="0">
                <a:srgbClr val="173C86"/>
              </a:gs>
              <a:gs pos="50000">
                <a:srgbClr val="20605D"/>
              </a:gs>
              <a:gs pos="100000">
                <a:srgbClr val="2A8435"/>
              </a:gs>
            </a:gsLst>
            <a:lin ang="0" scaled="1"/>
          </a:gradFill>
          <a:ln w="19273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29BD8262-4FD3-4EA9-1217-7FAD2A88EF02}"/>
              </a:ext>
            </a:extLst>
          </p:cNvPr>
          <p:cNvSpPr/>
          <p:nvPr userDrawn="1"/>
        </p:nvSpPr>
        <p:spPr>
          <a:xfrm>
            <a:off x="6292874" y="5027349"/>
            <a:ext cx="2566485" cy="1830651"/>
          </a:xfrm>
          <a:custGeom>
            <a:avLst/>
            <a:gdLst>
              <a:gd name="csX0" fmla="*/ 553122 w 2566485"/>
              <a:gd name="csY0" fmla="*/ 0 h 1830651"/>
              <a:gd name="csX1" fmla="*/ 2013363 w 2566485"/>
              <a:gd name="csY1" fmla="*/ 0 h 1830651"/>
              <a:gd name="csX2" fmla="*/ 2566485 w 2566485"/>
              <a:gd name="csY2" fmla="*/ 1106243 h 1830651"/>
              <a:gd name="csX3" fmla="*/ 2204280 w 2566485"/>
              <a:gd name="csY3" fmla="*/ 1830651 h 1830651"/>
              <a:gd name="csX4" fmla="*/ 362205 w 2566485"/>
              <a:gd name="csY4" fmla="*/ 1830651 h 1830651"/>
              <a:gd name="csX5" fmla="*/ 0 w 2566485"/>
              <a:gd name="csY5" fmla="*/ 1106243 h 183065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566485" h="1830651">
                <a:moveTo>
                  <a:pt x="553122" y="0"/>
                </a:moveTo>
                <a:lnTo>
                  <a:pt x="2013363" y="0"/>
                </a:lnTo>
                <a:lnTo>
                  <a:pt x="2566485" y="1106243"/>
                </a:lnTo>
                <a:lnTo>
                  <a:pt x="2204280" y="1830651"/>
                </a:lnTo>
                <a:lnTo>
                  <a:pt x="362205" y="1830651"/>
                </a:lnTo>
                <a:lnTo>
                  <a:pt x="0" y="1106243"/>
                </a:lnTo>
                <a:close/>
              </a:path>
            </a:pathLst>
          </a:custGeom>
          <a:gradFill>
            <a:gsLst>
              <a:gs pos="0">
                <a:srgbClr val="173C86"/>
              </a:gs>
              <a:gs pos="50000">
                <a:srgbClr val="20605D"/>
              </a:gs>
              <a:gs pos="100000">
                <a:srgbClr val="2A8435"/>
              </a:gs>
            </a:gsLst>
            <a:lin ang="0" scaled="1"/>
          </a:gradFill>
          <a:ln w="19273" cap="flat">
            <a:noFill/>
            <a:prstDash val="solid"/>
            <a:miter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cs-CZ"/>
          </a:p>
        </p:txBody>
      </p:sp>
      <p:pic>
        <p:nvPicPr>
          <p:cNvPr id="27" name="Picture 8">
            <a:extLst>
              <a:ext uri="{FF2B5EF4-FFF2-40B4-BE49-F238E27FC236}">
                <a16:creationId xmlns:a16="http://schemas.microsoft.com/office/drawing/2014/main" id="{8D2F2390-6C99-BACB-E8FE-858785DD74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355146" y="5190805"/>
            <a:ext cx="4648181" cy="149904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B35F49AA-2102-4DFE-BDAF-4C387DBE97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3171"/>
          <a:stretch>
            <a:fillRect/>
          </a:stretch>
        </p:blipFill>
        <p:spPr>
          <a:xfrm rot="17346217">
            <a:off x="9630927" y="417937"/>
            <a:ext cx="2979443" cy="3299518"/>
          </a:xfrm>
          <a:custGeom>
            <a:avLst/>
            <a:gdLst>
              <a:gd name="csX0" fmla="*/ 2979443 w 2979443"/>
              <a:gd name="csY0" fmla="*/ 0 h 3299518"/>
              <a:gd name="csX1" fmla="*/ 2979443 w 2979443"/>
              <a:gd name="csY1" fmla="*/ 2267583 h 3299518"/>
              <a:gd name="csX2" fmla="*/ 0 w 2979443"/>
              <a:gd name="csY2" fmla="*/ 3299518 h 3299518"/>
              <a:gd name="csX3" fmla="*/ 0 w 2979443"/>
              <a:gd name="csY3" fmla="*/ 0 h 32995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979443" h="3299518">
                <a:moveTo>
                  <a:pt x="2979443" y="0"/>
                </a:moveTo>
                <a:lnTo>
                  <a:pt x="2979443" y="2267583"/>
                </a:lnTo>
                <a:lnTo>
                  <a:pt x="0" y="3299518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36F78B19-B11C-DCE2-7E31-9EEE010EBE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40234"/>
          <a:stretch>
            <a:fillRect/>
          </a:stretch>
        </p:blipFill>
        <p:spPr>
          <a:xfrm rot="16833774">
            <a:off x="10040790" y="838503"/>
            <a:ext cx="2747352" cy="2094186"/>
          </a:xfrm>
          <a:custGeom>
            <a:avLst/>
            <a:gdLst>
              <a:gd name="csX0" fmla="*/ 2747352 w 2747352"/>
              <a:gd name="csY0" fmla="*/ 0 h 2094186"/>
              <a:gd name="csX1" fmla="*/ 2747352 w 2747352"/>
              <a:gd name="csY1" fmla="*/ 1581874 h 2094186"/>
              <a:gd name="csX2" fmla="*/ 0 w 2747352"/>
              <a:gd name="csY2" fmla="*/ 2094186 h 2094186"/>
              <a:gd name="csX3" fmla="*/ 0 w 2747352"/>
              <a:gd name="csY3" fmla="*/ 0 h 209418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2747352" h="2094186">
                <a:moveTo>
                  <a:pt x="2747352" y="0"/>
                </a:moveTo>
                <a:lnTo>
                  <a:pt x="2747352" y="1581874"/>
                </a:lnTo>
                <a:lnTo>
                  <a:pt x="0" y="2094186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31" name="Picture 9">
            <a:extLst>
              <a:ext uri="{FF2B5EF4-FFF2-40B4-BE49-F238E27FC236}">
                <a16:creationId xmlns:a16="http://schemas.microsoft.com/office/drawing/2014/main" id="{48504406-0038-0C7A-D290-B3D756D01D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6546216">
            <a:off x="7268397" y="3605852"/>
            <a:ext cx="2747352" cy="3503996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40013A86-9956-BA1E-114B-0DF5238958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6546216">
            <a:off x="7008727" y="4593955"/>
            <a:ext cx="2206982" cy="2814803"/>
          </a:xfrm>
          <a:custGeom>
            <a:avLst/>
            <a:gdLst>
              <a:gd name="csX0" fmla="*/ 0 w 2206982"/>
              <a:gd name="csY0" fmla="*/ 2814803 h 2814803"/>
              <a:gd name="csX1" fmla="*/ 0 w 2206982"/>
              <a:gd name="csY1" fmla="*/ 0 h 2814803"/>
              <a:gd name="csX2" fmla="*/ 1522605 w 2206982"/>
              <a:gd name="csY2" fmla="*/ 0 h 2814803"/>
              <a:gd name="csX3" fmla="*/ 2206982 w 2206982"/>
              <a:gd name="csY3" fmla="*/ 1975960 h 2814803"/>
              <a:gd name="csX4" fmla="*/ 2206982 w 2206982"/>
              <a:gd name="csY4" fmla="*/ 2814803 h 281480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206982" h="2814803">
                <a:moveTo>
                  <a:pt x="0" y="2814803"/>
                </a:moveTo>
                <a:lnTo>
                  <a:pt x="0" y="0"/>
                </a:lnTo>
                <a:lnTo>
                  <a:pt x="1522605" y="0"/>
                </a:lnTo>
                <a:lnTo>
                  <a:pt x="2206982" y="1975960"/>
                </a:lnTo>
                <a:lnTo>
                  <a:pt x="2206982" y="2814803"/>
                </a:lnTo>
                <a:close/>
              </a:path>
            </a:pathLst>
          </a:custGeom>
        </p:spPr>
      </p:pic>
      <p:pic>
        <p:nvPicPr>
          <p:cNvPr id="34" name="Grafik 9">
            <a:extLst>
              <a:ext uri="{FF2B5EF4-FFF2-40B4-BE49-F238E27FC236}">
                <a16:creationId xmlns:a16="http://schemas.microsoft.com/office/drawing/2014/main" id="{6E0B9179-976C-502B-09B7-3661977318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268" y="5292909"/>
            <a:ext cx="1291158" cy="1396936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162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cs-CZ" sz="4400" b="1" kern="1200">
          <a:solidFill>
            <a:srgbClr val="2A8435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1118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C6F37-25F5-EB5B-9E10-A8C1F6803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Your topic in Englis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0D1CA2-F36E-1C14-C467-1865B2E6E55B}"/>
              </a:ext>
            </a:extLst>
          </p:cNvPr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cs-CZ" dirty="0"/>
              <a:t>Author name</a:t>
            </a:r>
          </a:p>
        </p:txBody>
      </p:sp>
    </p:spTree>
    <p:extLst>
      <p:ext uri="{BB962C8B-B14F-4D97-AF65-F5344CB8AC3E}">
        <p14:creationId xmlns:p14="http://schemas.microsoft.com/office/powerpoint/2010/main" val="3379084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B2AD8-067A-805E-058D-0933445C9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903F6-6F27-106A-B485-66AD209F0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7976A0-0101-A5B4-D959-9A841CFC3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A1A9D3-C1CA-B5BB-483A-A686FE938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4077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613015-BDD3-B16F-1235-027786DEF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cience, Art &amp; AI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E1946F-C061-4138-5C48-2E7BF8B6D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2026-05-18</a:t>
            </a:r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06B58-BDFC-AE4F-9D98-1691AA165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7F130-775A-4CFD-BA73-9A3924069444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0592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reg intro slide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88974E31-5208-4504-9F44-6B42BB42A2E7}"/>
    </a:ext>
  </a:extLst>
</a:theme>
</file>

<file path=ppt/theme/theme2.xml><?xml version="1.0" encoding="utf-8"?>
<a:theme xmlns:a="http://schemas.openxmlformats.org/drawingml/2006/main" name="InterBridge Content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InterBridge Saf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Intro slid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InterBridge Saf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präsentation 2021-27</Template>
  <TotalTime>937</TotalTime>
  <Words>20</Words>
  <Application>Microsoft Office PowerPoint</Application>
  <PresentationFormat>Widescreen</PresentationFormat>
  <Paragraphs>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Fira Sans Bold Bold</vt:lpstr>
      <vt:lpstr>Roboto</vt:lpstr>
      <vt:lpstr>Segoe UI</vt:lpstr>
      <vt:lpstr>Interreg intro slide</vt:lpstr>
      <vt:lpstr>InterBridge Content</vt:lpstr>
      <vt:lpstr>Intro slide</vt:lpstr>
      <vt:lpstr>think-cell Folie</vt:lpstr>
      <vt:lpstr>PowerPoint Presentation</vt:lpstr>
      <vt:lpstr>Your topic in English</vt:lpstr>
      <vt:lpstr>PowerPoint Presentation</vt:lpstr>
      <vt:lpstr>PowerPoint Presentation</vt:lpstr>
    </vt:vector>
  </TitlesOfParts>
  <Company>S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nders, Jennifer Laura</dc:creator>
  <cp:lastModifiedBy>Vítězslav Kříž</cp:lastModifiedBy>
  <cp:revision>17</cp:revision>
  <dcterms:created xsi:type="dcterms:W3CDTF">2023-08-10T08:03:27Z</dcterms:created>
  <dcterms:modified xsi:type="dcterms:W3CDTF">2026-03-11T15:47:50Z</dcterms:modified>
</cp:coreProperties>
</file>